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71" r:id="rId2"/>
  </p:sldIdLst>
  <p:sldSz cx="7556500" cy="10693400"/>
  <p:notesSz cx="6858000" cy="9144000"/>
  <p:embeddedFontLst>
    <p:embeddedFont>
      <p:font typeface="Cagliostro" panose="020B0604020202020204" charset="0"/>
      <p:regular r:id="rId3"/>
    </p:embeddedFon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Cinzel" pitchFamily="2" charset="0"/>
      <p:regular r:id="rId8"/>
      <p:bold r:id="rId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9874" autoAdjust="0"/>
    <p:restoredTop sz="94622" autoAdjust="0"/>
  </p:normalViewPr>
  <p:slideViewPr>
    <p:cSldViewPr>
      <p:cViewPr varScale="1">
        <p:scale>
          <a:sx n="52" d="100"/>
          <a:sy n="52" d="100"/>
        </p:scale>
        <p:origin x="3043" y="48"/>
      </p:cViewPr>
      <p:guideLst>
        <p:guide orient="horz" pos="2160"/>
        <p:guide pos="28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viewProps" Target="viewProps.xml"/><Relationship Id="rId5" Type="http://schemas.openxmlformats.org/officeDocument/2006/relationships/font" Target="fonts/font3.fntdata"/><Relationship Id="rId10" Type="http://schemas.openxmlformats.org/officeDocument/2006/relationships/presProps" Target="presProps.xml"/><Relationship Id="rId4" Type="http://schemas.openxmlformats.org/officeDocument/2006/relationships/font" Target="fonts/font2.fntdata"/><Relationship Id="rId9" Type="http://schemas.openxmlformats.org/officeDocument/2006/relationships/font" Target="fonts/font7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09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Relationship Id="rId9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oup 4">
            <a:extLst>
              <a:ext uri="{FF2B5EF4-FFF2-40B4-BE49-F238E27FC236}">
                <a16:creationId xmlns:a16="http://schemas.microsoft.com/office/drawing/2014/main" id="{601AB2A4-EFA5-FA8D-E6CF-3E34331467E2}"/>
              </a:ext>
            </a:extLst>
          </p:cNvPr>
          <p:cNvGrpSpPr/>
          <p:nvPr/>
        </p:nvGrpSpPr>
        <p:grpSpPr>
          <a:xfrm>
            <a:off x="460102" y="548872"/>
            <a:ext cx="6768465" cy="9607223"/>
            <a:chOff x="460102" y="548872"/>
            <a:chExt cx="6768465" cy="9607223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BAD2EC4-F375-B1D8-7492-F978E71C005E}"/>
                </a:ext>
              </a:extLst>
            </p:cNvPr>
            <p:cNvGrpSpPr/>
            <p:nvPr/>
          </p:nvGrpSpPr>
          <p:grpSpPr>
            <a:xfrm>
              <a:off x="2094237" y="548872"/>
              <a:ext cx="4608012" cy="9483113"/>
              <a:chOff x="2094237" y="548872"/>
              <a:chExt cx="4608012" cy="9483113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3795536" y="2713431"/>
                <a:ext cx="233100" cy="233100"/>
              </a:xfrm>
              <a:custGeom>
                <a:avLst/>
                <a:gdLst/>
                <a:ahLst/>
                <a:cxnLst/>
                <a:rect l="l" t="t" r="r" b="b"/>
                <a:pathLst>
                  <a:path w="233100" h="233100">
                    <a:moveTo>
                      <a:pt x="0" y="0"/>
                    </a:moveTo>
                    <a:lnTo>
                      <a:pt x="233100" y="0"/>
                    </a:lnTo>
                    <a:lnTo>
                      <a:pt x="233100" y="233101"/>
                    </a:lnTo>
                    <a:lnTo>
                      <a:pt x="0" y="2331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6393329" y="548872"/>
                <a:ext cx="308920" cy="308920"/>
              </a:xfrm>
              <a:custGeom>
                <a:avLst/>
                <a:gdLst/>
                <a:ahLst/>
                <a:cxnLst/>
                <a:rect l="l" t="t" r="r" b="b"/>
                <a:pathLst>
                  <a:path w="308920" h="308920">
                    <a:moveTo>
                      <a:pt x="0" y="0"/>
                    </a:moveTo>
                    <a:lnTo>
                      <a:pt x="308921" y="0"/>
                    </a:lnTo>
                    <a:lnTo>
                      <a:pt x="308921" y="308920"/>
                    </a:lnTo>
                    <a:lnTo>
                      <a:pt x="0" y="30892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6393329" y="9723065"/>
                <a:ext cx="308920" cy="308920"/>
              </a:xfrm>
              <a:custGeom>
                <a:avLst/>
                <a:gdLst/>
                <a:ahLst/>
                <a:cxnLst/>
                <a:rect l="l" t="t" r="r" b="b"/>
                <a:pathLst>
                  <a:path w="308920" h="308920">
                    <a:moveTo>
                      <a:pt x="0" y="0"/>
                    </a:moveTo>
                    <a:lnTo>
                      <a:pt x="308921" y="0"/>
                    </a:lnTo>
                    <a:lnTo>
                      <a:pt x="308921" y="308921"/>
                    </a:lnTo>
                    <a:lnTo>
                      <a:pt x="0" y="30892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Freeform 17"/>
              <p:cNvSpPr/>
              <p:nvPr/>
            </p:nvSpPr>
            <p:spPr>
              <a:xfrm>
                <a:off x="2094237" y="6868863"/>
                <a:ext cx="233101" cy="233100"/>
              </a:xfrm>
              <a:custGeom>
                <a:avLst/>
                <a:gdLst/>
                <a:ahLst/>
                <a:cxnLst/>
                <a:rect l="l" t="t" r="r" b="b"/>
                <a:pathLst>
                  <a:path w="310801" h="310801">
                    <a:moveTo>
                      <a:pt x="0" y="0"/>
                    </a:moveTo>
                    <a:lnTo>
                      <a:pt x="310801" y="0"/>
                    </a:lnTo>
                    <a:lnTo>
                      <a:pt x="310801" y="310801"/>
                    </a:lnTo>
                    <a:lnTo>
                      <a:pt x="0" y="3108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Freeform 18"/>
              <p:cNvSpPr/>
              <p:nvPr/>
            </p:nvSpPr>
            <p:spPr>
              <a:xfrm>
                <a:off x="5402022" y="6868863"/>
                <a:ext cx="233101" cy="233100"/>
              </a:xfrm>
              <a:custGeom>
                <a:avLst/>
                <a:gdLst/>
                <a:ahLst/>
                <a:cxnLst/>
                <a:rect l="l" t="t" r="r" b="b"/>
                <a:pathLst>
                  <a:path w="310801" h="310801">
                    <a:moveTo>
                      <a:pt x="0" y="0"/>
                    </a:moveTo>
                    <a:lnTo>
                      <a:pt x="310800" y="0"/>
                    </a:lnTo>
                    <a:lnTo>
                      <a:pt x="310800" y="310801"/>
                    </a:lnTo>
                    <a:lnTo>
                      <a:pt x="0" y="3108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Freeform 21"/>
              <p:cNvSpPr/>
              <p:nvPr/>
            </p:nvSpPr>
            <p:spPr>
              <a:xfrm flipH="1">
                <a:off x="2951977" y="8625227"/>
                <a:ext cx="632099" cy="617087"/>
              </a:xfrm>
              <a:custGeom>
                <a:avLst/>
                <a:gdLst/>
                <a:ahLst/>
                <a:cxnLst/>
                <a:rect l="l" t="t" r="r" b="b"/>
                <a:pathLst>
                  <a:path w="632099" h="617087">
                    <a:moveTo>
                      <a:pt x="632099" y="0"/>
                    </a:moveTo>
                    <a:lnTo>
                      <a:pt x="0" y="0"/>
                    </a:lnTo>
                    <a:lnTo>
                      <a:pt x="0" y="617087"/>
                    </a:lnTo>
                    <a:lnTo>
                      <a:pt x="632099" y="617087"/>
                    </a:lnTo>
                    <a:lnTo>
                      <a:pt x="632099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A5C9E7FB-9AF5-5E4B-22C9-0C8303FCF819}"/>
                </a:ext>
              </a:extLst>
            </p:cNvPr>
            <p:cNvGrpSpPr/>
            <p:nvPr/>
          </p:nvGrpSpPr>
          <p:grpSpPr>
            <a:xfrm>
              <a:off x="756000" y="2742492"/>
              <a:ext cx="6048000" cy="6793938"/>
              <a:chOff x="756000" y="2742492"/>
              <a:chExt cx="6048000" cy="6793938"/>
            </a:xfrm>
          </p:grpSpPr>
          <p:sp>
            <p:nvSpPr>
              <p:cNvPr id="2" name="AutoShape 2"/>
              <p:cNvSpPr/>
              <p:nvPr/>
            </p:nvSpPr>
            <p:spPr>
              <a:xfrm>
                <a:off x="756000" y="6983031"/>
                <a:ext cx="6048000" cy="0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" name="AutoShape 3"/>
              <p:cNvSpPr/>
              <p:nvPr/>
            </p:nvSpPr>
            <p:spPr>
              <a:xfrm flipV="1">
                <a:off x="3912086" y="2742492"/>
                <a:ext cx="0" cy="6793897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" name="AutoShape 14"/>
              <p:cNvSpPr/>
              <p:nvPr/>
            </p:nvSpPr>
            <p:spPr>
              <a:xfrm>
                <a:off x="756000" y="9536430"/>
                <a:ext cx="6048000" cy="0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" name="AutoShape 15"/>
              <p:cNvSpPr/>
              <p:nvPr/>
            </p:nvSpPr>
            <p:spPr>
              <a:xfrm flipV="1">
                <a:off x="756000" y="8340222"/>
                <a:ext cx="3156086" cy="0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AutoShape 19"/>
              <p:cNvSpPr/>
              <p:nvPr/>
            </p:nvSpPr>
            <p:spPr>
              <a:xfrm flipV="1">
                <a:off x="2623966" y="8335460"/>
                <a:ext cx="0" cy="1196621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AutoShape 20"/>
              <p:cNvSpPr/>
              <p:nvPr/>
            </p:nvSpPr>
            <p:spPr>
              <a:xfrm flipV="1">
                <a:off x="5518571" y="7519720"/>
                <a:ext cx="0" cy="2011890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69BCD6C7-D905-C360-04DD-BB6DFBB8A0F9}"/>
                </a:ext>
              </a:extLst>
            </p:cNvPr>
            <p:cNvGrpSpPr/>
            <p:nvPr/>
          </p:nvGrpSpPr>
          <p:grpSpPr>
            <a:xfrm>
              <a:off x="756000" y="9701634"/>
              <a:ext cx="2896677" cy="454461"/>
              <a:chOff x="756000" y="9701634"/>
              <a:chExt cx="2896677" cy="454461"/>
            </a:xfrm>
          </p:grpSpPr>
          <p:sp>
            <p:nvSpPr>
              <p:cNvPr id="47" name="TextBox 47"/>
              <p:cNvSpPr txBox="1"/>
              <p:nvPr/>
            </p:nvSpPr>
            <p:spPr>
              <a:xfrm>
                <a:off x="756000" y="9701634"/>
                <a:ext cx="2896677" cy="2339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864"/>
                  </a:lnSpc>
                  <a:spcBef>
                    <a:spcPct val="0"/>
                  </a:spcBef>
                </a:pPr>
                <a:r>
                  <a:rPr lang="en-US" sz="1350" b="1" dirty="0">
                    <a:solidFill>
                      <a:srgbClr val="305986"/>
                    </a:solidFill>
                    <a:latin typeface="Cinzel" pitchFamily="2" charset="0"/>
                  </a:rPr>
                  <a:t>Know more about my work at</a:t>
                </a:r>
              </a:p>
            </p:txBody>
          </p:sp>
          <p:sp>
            <p:nvSpPr>
              <p:cNvPr id="48" name="TextBox 48"/>
              <p:cNvSpPr txBox="1"/>
              <p:nvPr/>
            </p:nvSpPr>
            <p:spPr>
              <a:xfrm>
                <a:off x="756000" y="9982971"/>
                <a:ext cx="2440303" cy="17312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12"/>
                  </a:lnSpc>
                </a:pPr>
                <a:r>
                  <a:rPr lang="en-US" sz="1000" spc="50" dirty="0">
                    <a:solidFill>
                      <a:srgbClr val="305986"/>
                    </a:solidFill>
                    <a:latin typeface="Cagliostro"/>
                  </a:rPr>
                  <a:t>www.imelena.com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39D7FF95-7EB1-B1BD-7687-CBF3CE252C88}"/>
                </a:ext>
              </a:extLst>
            </p:cNvPr>
            <p:cNvGrpSpPr/>
            <p:nvPr/>
          </p:nvGrpSpPr>
          <p:grpSpPr>
            <a:xfrm>
              <a:off x="4609281" y="7730028"/>
              <a:ext cx="1938508" cy="1531206"/>
              <a:chOff x="4609281" y="7730028"/>
              <a:chExt cx="1938508" cy="1531206"/>
            </a:xfrm>
          </p:grpSpPr>
          <p:sp>
            <p:nvSpPr>
              <p:cNvPr id="53" name="TextBox 53"/>
              <p:cNvSpPr txBox="1"/>
              <p:nvPr/>
            </p:nvSpPr>
            <p:spPr>
              <a:xfrm>
                <a:off x="4609281" y="7730028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 dirty="0">
                    <a:solidFill>
                      <a:srgbClr val="305986"/>
                    </a:solidFill>
                    <a:latin typeface="Cagliostro"/>
                  </a:rPr>
                  <a:t>Coffee</a:t>
                </a:r>
              </a:p>
            </p:txBody>
          </p:sp>
          <p:sp>
            <p:nvSpPr>
              <p:cNvPr id="55" name="TextBox 55"/>
              <p:cNvSpPr txBox="1"/>
              <p:nvPr/>
            </p:nvSpPr>
            <p:spPr>
              <a:xfrm>
                <a:off x="4609281" y="8075787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 dirty="0">
                    <a:solidFill>
                      <a:srgbClr val="305986"/>
                    </a:solidFill>
                    <a:latin typeface="Cagliostro"/>
                  </a:rPr>
                  <a:t>Mac</a:t>
                </a:r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4609281" y="8421546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Introvert</a:t>
                </a:r>
              </a:p>
            </p:txBody>
          </p:sp>
          <p:sp>
            <p:nvSpPr>
              <p:cNvPr id="59" name="TextBox 59"/>
              <p:cNvSpPr txBox="1"/>
              <p:nvPr/>
            </p:nvSpPr>
            <p:spPr>
              <a:xfrm>
                <a:off x="4609281" y="8767358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Cats </a:t>
                </a:r>
              </a:p>
            </p:txBody>
          </p:sp>
          <p:sp>
            <p:nvSpPr>
              <p:cNvPr id="61" name="TextBox 61"/>
              <p:cNvSpPr txBox="1"/>
              <p:nvPr/>
            </p:nvSpPr>
            <p:spPr>
              <a:xfrm>
                <a:off x="4609281" y="9113117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Sneakers</a:t>
                </a:r>
              </a:p>
            </p:txBody>
          </p:sp>
          <p:sp>
            <p:nvSpPr>
              <p:cNvPr id="54" name="TextBox 54"/>
              <p:cNvSpPr txBox="1"/>
              <p:nvPr/>
            </p:nvSpPr>
            <p:spPr>
              <a:xfrm>
                <a:off x="5687519" y="7730028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 dirty="0">
                    <a:solidFill>
                      <a:srgbClr val="305986"/>
                    </a:solidFill>
                    <a:latin typeface="Cagliostro"/>
                  </a:rPr>
                  <a:t>Tea</a:t>
                </a:r>
              </a:p>
            </p:txBody>
          </p:sp>
          <p:sp>
            <p:nvSpPr>
              <p:cNvPr id="56" name="TextBox 56"/>
              <p:cNvSpPr txBox="1"/>
              <p:nvPr/>
            </p:nvSpPr>
            <p:spPr>
              <a:xfrm>
                <a:off x="5687519" y="8075787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PC</a:t>
                </a:r>
              </a:p>
            </p:txBody>
          </p:sp>
          <p:sp>
            <p:nvSpPr>
              <p:cNvPr id="58" name="TextBox 58"/>
              <p:cNvSpPr txBox="1"/>
              <p:nvPr/>
            </p:nvSpPr>
            <p:spPr>
              <a:xfrm>
                <a:off x="5567591" y="8421546"/>
                <a:ext cx="980198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Extrovert</a:t>
                </a:r>
              </a:p>
            </p:txBody>
          </p:sp>
          <p:sp>
            <p:nvSpPr>
              <p:cNvPr id="60" name="TextBox 60"/>
              <p:cNvSpPr txBox="1"/>
              <p:nvPr/>
            </p:nvSpPr>
            <p:spPr>
              <a:xfrm>
                <a:off x="5687519" y="8767358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Dogs</a:t>
                </a:r>
              </a:p>
            </p:txBody>
          </p:sp>
          <p:sp>
            <p:nvSpPr>
              <p:cNvPr id="62" name="TextBox 62"/>
              <p:cNvSpPr txBox="1"/>
              <p:nvPr/>
            </p:nvSpPr>
            <p:spPr>
              <a:xfrm>
                <a:off x="5687519" y="9113117"/>
                <a:ext cx="740343" cy="1481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8"/>
                  </a:lnSpc>
                  <a:spcBef>
                    <a:spcPct val="0"/>
                  </a:spcBef>
                </a:pPr>
                <a:r>
                  <a:rPr lang="en-US" sz="850">
                    <a:solidFill>
                      <a:srgbClr val="305986"/>
                    </a:solidFill>
                    <a:latin typeface="Cagliostro"/>
                  </a:rPr>
                  <a:t>Sandals</a:t>
                </a: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1F2493FB-4666-71CB-326B-027131E2F3CB}"/>
                </a:ext>
              </a:extLst>
            </p:cNvPr>
            <p:cNvGrpSpPr/>
            <p:nvPr/>
          </p:nvGrpSpPr>
          <p:grpSpPr>
            <a:xfrm>
              <a:off x="4372900" y="7211006"/>
              <a:ext cx="2291342" cy="308822"/>
              <a:chOff x="4372900" y="7211006"/>
              <a:chExt cx="2291342" cy="308822"/>
            </a:xfrm>
          </p:grpSpPr>
          <p:sp>
            <p:nvSpPr>
              <p:cNvPr id="43" name="Freeform 43"/>
              <p:cNvSpPr/>
              <p:nvPr/>
            </p:nvSpPr>
            <p:spPr>
              <a:xfrm>
                <a:off x="4372900" y="7211006"/>
                <a:ext cx="2291342" cy="308822"/>
              </a:xfrm>
              <a:custGeom>
                <a:avLst/>
                <a:gdLst/>
                <a:ahLst/>
                <a:cxnLst/>
                <a:rect l="l" t="t" r="r" b="b"/>
                <a:pathLst>
                  <a:path w="1017580" h="137147">
                    <a:moveTo>
                      <a:pt x="68574" y="0"/>
                    </a:moveTo>
                    <a:lnTo>
                      <a:pt x="949006" y="0"/>
                    </a:lnTo>
                    <a:cubicBezTo>
                      <a:pt x="967193" y="0"/>
                      <a:pt x="984635" y="7225"/>
                      <a:pt x="997495" y="20085"/>
                    </a:cubicBezTo>
                    <a:cubicBezTo>
                      <a:pt x="1010355" y="32945"/>
                      <a:pt x="1017580" y="50387"/>
                      <a:pt x="1017580" y="68574"/>
                    </a:cubicBezTo>
                    <a:lnTo>
                      <a:pt x="1017580" y="68574"/>
                    </a:lnTo>
                    <a:cubicBezTo>
                      <a:pt x="1017580" y="86761"/>
                      <a:pt x="1010355" y="104203"/>
                      <a:pt x="997495" y="117063"/>
                    </a:cubicBezTo>
                    <a:cubicBezTo>
                      <a:pt x="984635" y="129923"/>
                      <a:pt x="967193" y="137147"/>
                      <a:pt x="949006" y="137147"/>
                    </a:cubicBezTo>
                    <a:lnTo>
                      <a:pt x="68574" y="137147"/>
                    </a:lnTo>
                    <a:cubicBezTo>
                      <a:pt x="50387" y="137147"/>
                      <a:pt x="32945" y="129923"/>
                      <a:pt x="20085" y="117063"/>
                    </a:cubicBezTo>
                    <a:cubicBezTo>
                      <a:pt x="7225" y="104203"/>
                      <a:pt x="0" y="86761"/>
                      <a:pt x="0" y="68574"/>
                    </a:cubicBezTo>
                    <a:lnTo>
                      <a:pt x="0" y="68574"/>
                    </a:lnTo>
                    <a:cubicBezTo>
                      <a:pt x="0" y="50387"/>
                      <a:pt x="7225" y="32945"/>
                      <a:pt x="20085" y="20085"/>
                    </a:cubicBezTo>
                    <a:cubicBezTo>
                      <a:pt x="32945" y="7225"/>
                      <a:pt x="50387" y="0"/>
                      <a:pt x="68574" y="0"/>
                    </a:cubicBez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rnd">
                <a:solidFill>
                  <a:srgbClr val="305986">
                    <a:alpha val="49804"/>
                  </a:srgbClr>
                </a:solidFill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4583358" y="7261540"/>
                <a:ext cx="1870426" cy="20967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b="1" spc="60" dirty="0">
                    <a:solidFill>
                      <a:srgbClr val="305986"/>
                    </a:solidFill>
                    <a:latin typeface="Cinzel" pitchFamily="2" charset="0"/>
                  </a:rPr>
                  <a:t>THIS OR THAT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257B57F0-EF47-1555-6AD1-3D7FA67B900E}"/>
                </a:ext>
              </a:extLst>
            </p:cNvPr>
            <p:cNvGrpSpPr/>
            <p:nvPr/>
          </p:nvGrpSpPr>
          <p:grpSpPr>
            <a:xfrm>
              <a:off x="950863" y="8610977"/>
              <a:ext cx="1387079" cy="635841"/>
              <a:chOff x="950863" y="8610977"/>
              <a:chExt cx="1387079" cy="635841"/>
            </a:xfrm>
          </p:grpSpPr>
          <p:sp>
            <p:nvSpPr>
              <p:cNvPr id="64" name="TextBox 52">
                <a:extLst>
                  <a:ext uri="{FF2B5EF4-FFF2-40B4-BE49-F238E27FC236}">
                    <a16:creationId xmlns:a16="http://schemas.microsoft.com/office/drawing/2014/main" id="{85E4AB0E-6F0F-AF67-5EE4-DBB12057C4B8}"/>
                  </a:ext>
                </a:extLst>
              </p:cNvPr>
              <p:cNvSpPr txBox="1"/>
              <p:nvPr/>
            </p:nvSpPr>
            <p:spPr>
              <a:xfrm>
                <a:off x="950863" y="8827909"/>
                <a:ext cx="1387079" cy="2019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0"/>
                  </a:lnSpc>
                </a:pPr>
                <a:r>
                  <a:rPr lang="en-US" sz="1000" b="1" spc="50" dirty="0">
                    <a:solidFill>
                      <a:srgbClr val="305986"/>
                    </a:solidFill>
                    <a:latin typeface="Cinzel" pitchFamily="2" charset="0"/>
                  </a:rPr>
                  <a:t>Age: 26 years old</a:t>
                </a:r>
              </a:p>
            </p:txBody>
          </p:sp>
          <p:sp>
            <p:nvSpPr>
              <p:cNvPr id="52" name="TextBox 52"/>
              <p:cNvSpPr txBox="1"/>
              <p:nvPr/>
            </p:nvSpPr>
            <p:spPr>
              <a:xfrm>
                <a:off x="950863" y="8610977"/>
                <a:ext cx="1387079" cy="2019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0"/>
                  </a:lnSpc>
                </a:pPr>
                <a:r>
                  <a:rPr lang="en-US" sz="1000" b="1" spc="50" dirty="0">
                    <a:solidFill>
                      <a:srgbClr val="305986"/>
                    </a:solidFill>
                    <a:latin typeface="Cinzel" pitchFamily="2" charset="0"/>
                  </a:rPr>
                  <a:t>07.07.1997</a:t>
                </a:r>
              </a:p>
            </p:txBody>
          </p:sp>
          <p:sp>
            <p:nvSpPr>
              <p:cNvPr id="63" name="TextBox 52">
                <a:extLst>
                  <a:ext uri="{FF2B5EF4-FFF2-40B4-BE49-F238E27FC236}">
                    <a16:creationId xmlns:a16="http://schemas.microsoft.com/office/drawing/2014/main" id="{81DA6D2C-1081-387B-3FD8-1FA39CC9BDEE}"/>
                  </a:ext>
                </a:extLst>
              </p:cNvPr>
              <p:cNvSpPr txBox="1"/>
              <p:nvPr/>
            </p:nvSpPr>
            <p:spPr>
              <a:xfrm>
                <a:off x="950863" y="9044840"/>
                <a:ext cx="1387079" cy="2019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0"/>
                  </a:lnSpc>
                </a:pPr>
                <a:r>
                  <a:rPr lang="en-US" sz="1000" b="1" spc="50" dirty="0">
                    <a:solidFill>
                      <a:srgbClr val="305986"/>
                    </a:solidFill>
                    <a:latin typeface="Cinzel" pitchFamily="2" charset="0"/>
                  </a:rPr>
                  <a:t>Height: 167 Cm</a:t>
                </a: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9ADFAA9F-2F59-03A3-3AA5-1A81EE65B1FB}"/>
                </a:ext>
              </a:extLst>
            </p:cNvPr>
            <p:cNvGrpSpPr/>
            <p:nvPr/>
          </p:nvGrpSpPr>
          <p:grpSpPr>
            <a:xfrm>
              <a:off x="1090316" y="7739553"/>
              <a:ext cx="2291342" cy="325706"/>
              <a:chOff x="1090316" y="7739553"/>
              <a:chExt cx="2291342" cy="325706"/>
            </a:xfrm>
          </p:grpSpPr>
          <p:sp>
            <p:nvSpPr>
              <p:cNvPr id="25" name="Freeform 25"/>
              <p:cNvSpPr/>
              <p:nvPr/>
            </p:nvSpPr>
            <p:spPr>
              <a:xfrm>
                <a:off x="1090316" y="7739553"/>
                <a:ext cx="518908" cy="325706"/>
              </a:xfrm>
              <a:custGeom>
                <a:avLst/>
                <a:gdLst/>
                <a:ahLst/>
                <a:cxnLst/>
                <a:rect l="l" t="t" r="r" b="b"/>
                <a:pathLst>
                  <a:path w="266905" h="167530">
                    <a:moveTo>
                      <a:pt x="0" y="0"/>
                    </a:moveTo>
                    <a:lnTo>
                      <a:pt x="266905" y="0"/>
                    </a:lnTo>
                    <a:lnTo>
                      <a:pt x="266905" y="167530"/>
                    </a:lnTo>
                    <a:lnTo>
                      <a:pt x="0" y="167530"/>
                    </a:lnTo>
                    <a:close/>
                  </a:path>
                </a:pathLst>
              </a:custGeom>
              <a:solidFill>
                <a:srgbClr val="F1E5DB"/>
              </a:solidFill>
              <a:ln cap="sq">
                <a:noFill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Freeform 28"/>
              <p:cNvSpPr/>
              <p:nvPr/>
            </p:nvSpPr>
            <p:spPr>
              <a:xfrm>
                <a:off x="2271939" y="7739553"/>
                <a:ext cx="518908" cy="325706"/>
              </a:xfrm>
              <a:custGeom>
                <a:avLst/>
                <a:gdLst/>
                <a:ahLst/>
                <a:cxnLst/>
                <a:rect l="l" t="t" r="r" b="b"/>
                <a:pathLst>
                  <a:path w="266905" h="167530">
                    <a:moveTo>
                      <a:pt x="0" y="0"/>
                    </a:moveTo>
                    <a:lnTo>
                      <a:pt x="266905" y="0"/>
                    </a:lnTo>
                    <a:lnTo>
                      <a:pt x="266905" y="167530"/>
                    </a:lnTo>
                    <a:lnTo>
                      <a:pt x="0" y="167530"/>
                    </a:lnTo>
                    <a:close/>
                  </a:path>
                </a:pathLst>
              </a:custGeom>
              <a:solidFill>
                <a:srgbClr val="8AA2B6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31"/>
              <p:cNvSpPr/>
              <p:nvPr/>
            </p:nvSpPr>
            <p:spPr>
              <a:xfrm>
                <a:off x="1681127" y="7739553"/>
                <a:ext cx="518908" cy="325706"/>
              </a:xfrm>
              <a:custGeom>
                <a:avLst/>
                <a:gdLst/>
                <a:ahLst/>
                <a:cxnLst/>
                <a:rect l="l" t="t" r="r" b="b"/>
                <a:pathLst>
                  <a:path w="266905" h="167530">
                    <a:moveTo>
                      <a:pt x="0" y="0"/>
                    </a:moveTo>
                    <a:lnTo>
                      <a:pt x="266905" y="0"/>
                    </a:lnTo>
                    <a:lnTo>
                      <a:pt x="266905" y="167530"/>
                    </a:lnTo>
                    <a:lnTo>
                      <a:pt x="0" y="167530"/>
                    </a:lnTo>
                    <a:close/>
                  </a:path>
                </a:pathLst>
              </a:custGeom>
              <a:solidFill>
                <a:srgbClr val="305986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Freeform 34"/>
              <p:cNvSpPr/>
              <p:nvPr/>
            </p:nvSpPr>
            <p:spPr>
              <a:xfrm>
                <a:off x="2862750" y="7739553"/>
                <a:ext cx="518908" cy="325706"/>
              </a:xfrm>
              <a:custGeom>
                <a:avLst/>
                <a:gdLst/>
                <a:ahLst/>
                <a:cxnLst/>
                <a:rect l="l" t="t" r="r" b="b"/>
                <a:pathLst>
                  <a:path w="266905" h="167530">
                    <a:moveTo>
                      <a:pt x="0" y="0"/>
                    </a:moveTo>
                    <a:lnTo>
                      <a:pt x="266905" y="0"/>
                    </a:lnTo>
                    <a:lnTo>
                      <a:pt x="266905" y="167530"/>
                    </a:lnTo>
                    <a:lnTo>
                      <a:pt x="0" y="167530"/>
                    </a:lnTo>
                    <a:close/>
                  </a:path>
                </a:pathLst>
              </a:custGeom>
              <a:solidFill>
                <a:srgbClr val="1E212B"/>
              </a:solid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9205323D-1BC8-006D-67A3-CC567B77169D}"/>
                </a:ext>
              </a:extLst>
            </p:cNvPr>
            <p:cNvGrpSpPr/>
            <p:nvPr/>
          </p:nvGrpSpPr>
          <p:grpSpPr>
            <a:xfrm>
              <a:off x="1090316" y="7211006"/>
              <a:ext cx="2291342" cy="308714"/>
              <a:chOff x="1090316" y="7211006"/>
              <a:chExt cx="2291342" cy="308714"/>
            </a:xfrm>
          </p:grpSpPr>
          <p:sp>
            <p:nvSpPr>
              <p:cNvPr id="38" name="Freeform 38"/>
              <p:cNvSpPr/>
              <p:nvPr/>
            </p:nvSpPr>
            <p:spPr>
              <a:xfrm>
                <a:off x="1090316" y="7211006"/>
                <a:ext cx="2291342" cy="308714"/>
              </a:xfrm>
              <a:custGeom>
                <a:avLst/>
                <a:gdLst/>
                <a:ahLst/>
                <a:cxnLst/>
                <a:rect l="l" t="t" r="r" b="b"/>
                <a:pathLst>
                  <a:path w="1017580" h="137099">
                    <a:moveTo>
                      <a:pt x="68550" y="0"/>
                    </a:moveTo>
                    <a:lnTo>
                      <a:pt x="949030" y="0"/>
                    </a:lnTo>
                    <a:cubicBezTo>
                      <a:pt x="967211" y="0"/>
                      <a:pt x="984647" y="7222"/>
                      <a:pt x="997502" y="20078"/>
                    </a:cubicBezTo>
                    <a:cubicBezTo>
                      <a:pt x="1010358" y="32933"/>
                      <a:pt x="1017580" y="50369"/>
                      <a:pt x="1017580" y="68550"/>
                    </a:cubicBezTo>
                    <a:lnTo>
                      <a:pt x="1017580" y="68550"/>
                    </a:lnTo>
                    <a:cubicBezTo>
                      <a:pt x="1017580" y="86730"/>
                      <a:pt x="1010358" y="104166"/>
                      <a:pt x="997502" y="117022"/>
                    </a:cubicBezTo>
                    <a:cubicBezTo>
                      <a:pt x="984647" y="129877"/>
                      <a:pt x="967211" y="137099"/>
                      <a:pt x="949030" y="137099"/>
                    </a:cubicBezTo>
                    <a:lnTo>
                      <a:pt x="68550" y="137099"/>
                    </a:lnTo>
                    <a:cubicBezTo>
                      <a:pt x="50369" y="137099"/>
                      <a:pt x="32933" y="129877"/>
                      <a:pt x="20078" y="117022"/>
                    </a:cubicBezTo>
                    <a:cubicBezTo>
                      <a:pt x="7222" y="104166"/>
                      <a:pt x="0" y="86730"/>
                      <a:pt x="0" y="68550"/>
                    </a:cubicBezTo>
                    <a:lnTo>
                      <a:pt x="0" y="68550"/>
                    </a:lnTo>
                    <a:cubicBezTo>
                      <a:pt x="0" y="50369"/>
                      <a:pt x="7222" y="32933"/>
                      <a:pt x="20078" y="20078"/>
                    </a:cubicBezTo>
                    <a:cubicBezTo>
                      <a:pt x="32933" y="7222"/>
                      <a:pt x="50369" y="0"/>
                      <a:pt x="68550" y="0"/>
                    </a:cubicBez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rnd">
                <a:solidFill>
                  <a:srgbClr val="305986">
                    <a:alpha val="49804"/>
                  </a:srgbClr>
                </a:solidFill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TextBox 40"/>
              <p:cNvSpPr txBox="1"/>
              <p:nvPr/>
            </p:nvSpPr>
            <p:spPr>
              <a:xfrm>
                <a:off x="1300774" y="7261540"/>
                <a:ext cx="1870426" cy="20967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680"/>
                  </a:lnSpc>
                  <a:spcBef>
                    <a:spcPct val="0"/>
                  </a:spcBef>
                </a:pPr>
                <a:r>
                  <a:rPr lang="en-US" sz="1200" b="1" spc="60" dirty="0">
                    <a:solidFill>
                      <a:srgbClr val="305986"/>
                    </a:solidFill>
                    <a:latin typeface="Cinzel" pitchFamily="2" charset="0"/>
                  </a:rPr>
                  <a:t>My favorite Colors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5AD8785-C7F2-7F80-8873-2BC5931C1490}"/>
                </a:ext>
              </a:extLst>
            </p:cNvPr>
            <p:cNvGrpSpPr/>
            <p:nvPr/>
          </p:nvGrpSpPr>
          <p:grpSpPr>
            <a:xfrm>
              <a:off x="4233142" y="2809014"/>
              <a:ext cx="2570858" cy="3800056"/>
              <a:chOff x="4233142" y="2809014"/>
              <a:chExt cx="2570858" cy="3800056"/>
            </a:xfrm>
          </p:grpSpPr>
          <p:sp>
            <p:nvSpPr>
              <p:cNvPr id="49" name="TextBox 49"/>
              <p:cNvSpPr txBox="1"/>
              <p:nvPr/>
            </p:nvSpPr>
            <p:spPr>
              <a:xfrm>
                <a:off x="4233142" y="2809014"/>
                <a:ext cx="2336839" cy="4049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964"/>
                  </a:lnSpc>
                </a:pPr>
                <a:r>
                  <a:rPr lang="en-US" sz="3050" b="1" spc="151" dirty="0">
                    <a:solidFill>
                      <a:srgbClr val="305986"/>
                    </a:solidFill>
                    <a:latin typeface="Cinzel" pitchFamily="2" charset="0"/>
                  </a:rPr>
                  <a:t>ABOUT ME</a:t>
                </a:r>
              </a:p>
            </p:txBody>
          </p:sp>
          <p:sp>
            <p:nvSpPr>
              <p:cNvPr id="50" name="TextBox 50"/>
              <p:cNvSpPr txBox="1"/>
              <p:nvPr/>
            </p:nvSpPr>
            <p:spPr>
              <a:xfrm>
                <a:off x="4233142" y="3245970"/>
                <a:ext cx="2570858" cy="3363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2200"/>
                  </a:lnSpc>
                  <a:spcBef>
                    <a:spcPct val="0"/>
                  </a:spcBef>
                </a:pPr>
                <a:r>
                  <a:rPr lang="en-US" sz="1250" dirty="0">
                    <a:solidFill>
                      <a:srgbClr val="305986"/>
                    </a:solidFill>
                    <a:latin typeface="Cagliostro"/>
                  </a:rPr>
                  <a:t>Hi there! It's great to meet you! </a:t>
                </a:r>
                <a:br>
                  <a:rPr lang="vi-VN" sz="1250" dirty="0">
                    <a:solidFill>
                      <a:srgbClr val="305986"/>
                    </a:solidFill>
                    <a:latin typeface="Cagliostro"/>
                  </a:rPr>
                </a:br>
                <a:r>
                  <a:rPr lang="en-US" sz="1250" dirty="0">
                    <a:solidFill>
                      <a:srgbClr val="305986"/>
                    </a:solidFill>
                    <a:latin typeface="Cagliostro"/>
                  </a:rPr>
                  <a:t>My name is Elena, and I'm a graphic designer who thrives on transforming concepts into captivating visuals, merging my professional expertise with a profound passion for creativity. Beyond my design world, </a:t>
                </a:r>
                <a:br>
                  <a:rPr lang="vi-VN" sz="1250" dirty="0">
                    <a:solidFill>
                      <a:srgbClr val="305986"/>
                    </a:solidFill>
                    <a:latin typeface="Cagliostro"/>
                  </a:rPr>
                </a:br>
                <a:r>
                  <a:rPr lang="en-US" sz="1250" dirty="0">
                    <a:solidFill>
                      <a:srgbClr val="305986"/>
                    </a:solidFill>
                    <a:latin typeface="Cagliostro"/>
                  </a:rPr>
                  <a:t>I embark on thrilling adventures, relishing the chance to connect with diverse individuals and absorb their inspiring stories and perspectives, enriching my creative reservoir.</a:t>
                </a: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11EC5D5-A35D-B96A-7F93-AD29B43FB9DC}"/>
                </a:ext>
              </a:extLst>
            </p:cNvPr>
            <p:cNvGrpSpPr/>
            <p:nvPr/>
          </p:nvGrpSpPr>
          <p:grpSpPr>
            <a:xfrm>
              <a:off x="756000" y="2742339"/>
              <a:ext cx="2818794" cy="3969230"/>
              <a:chOff x="756000" y="2742339"/>
              <a:chExt cx="2818794" cy="396923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756000" y="2742339"/>
                <a:ext cx="2818794" cy="3969230"/>
              </a:xfrm>
              <a:custGeom>
                <a:avLst/>
                <a:gdLst/>
                <a:ahLst/>
                <a:cxnLst/>
                <a:rect l="l" t="t" r="r" b="b"/>
                <a:pathLst>
                  <a:path w="1010192" h="1422482">
                    <a:moveTo>
                      <a:pt x="0" y="0"/>
                    </a:moveTo>
                    <a:lnTo>
                      <a:pt x="1010192" y="0"/>
                    </a:lnTo>
                    <a:lnTo>
                      <a:pt x="1010192" y="1422482"/>
                    </a:lnTo>
                    <a:lnTo>
                      <a:pt x="0" y="1422482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sq">
                <a:solidFill>
                  <a:srgbClr val="305986">
                    <a:alpha val="49804"/>
                  </a:srgbClr>
                </a:solidFill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Freeform 8"/>
              <p:cNvSpPr/>
              <p:nvPr/>
            </p:nvSpPr>
            <p:spPr>
              <a:xfrm>
                <a:off x="842116" y="2828316"/>
                <a:ext cx="2646562" cy="3797275"/>
              </a:xfrm>
              <a:custGeom>
                <a:avLst/>
                <a:gdLst/>
                <a:ahLst/>
                <a:cxnLst/>
                <a:rect l="l" t="t" r="r" b="b"/>
                <a:pathLst>
                  <a:path w="2646562" h="3797275">
                    <a:moveTo>
                      <a:pt x="0" y="0"/>
                    </a:moveTo>
                    <a:lnTo>
                      <a:pt x="2646562" y="0"/>
                    </a:lnTo>
                    <a:lnTo>
                      <a:pt x="2646562" y="3797276"/>
                    </a:lnTo>
                    <a:lnTo>
                      <a:pt x="0" y="379727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/>
                <a:stretch>
                  <a:fillRect t="-2304" b="-230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7EE63CA-8533-5383-D20E-CA4069F59FC0}"/>
                </a:ext>
              </a:extLst>
            </p:cNvPr>
            <p:cNvGrpSpPr/>
            <p:nvPr/>
          </p:nvGrpSpPr>
          <p:grpSpPr>
            <a:xfrm>
              <a:off x="460102" y="577443"/>
              <a:ext cx="6639797" cy="1937973"/>
              <a:chOff x="460102" y="577443"/>
              <a:chExt cx="6639797" cy="1937973"/>
            </a:xfrm>
          </p:grpSpPr>
          <p:sp>
            <p:nvSpPr>
              <p:cNvPr id="9" name="TextBox 9"/>
              <p:cNvSpPr txBox="1"/>
              <p:nvPr/>
            </p:nvSpPr>
            <p:spPr>
              <a:xfrm>
                <a:off x="460102" y="957297"/>
                <a:ext cx="6639797" cy="15581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599"/>
                  </a:lnSpc>
                  <a:spcBef>
                    <a:spcPct val="0"/>
                  </a:spcBef>
                </a:pPr>
                <a:r>
                  <a:rPr lang="en-US" sz="9000" b="1" dirty="0">
                    <a:solidFill>
                      <a:srgbClr val="305986"/>
                    </a:solidFill>
                    <a:latin typeface="Cinzel" pitchFamily="2" charset="0"/>
                  </a:rPr>
                  <a:t>I’M ELENA</a:t>
                </a:r>
              </a:p>
            </p:txBody>
          </p:sp>
          <p:sp>
            <p:nvSpPr>
              <p:cNvPr id="10" name="AutoShape 10"/>
              <p:cNvSpPr/>
              <p:nvPr/>
            </p:nvSpPr>
            <p:spPr>
              <a:xfrm>
                <a:off x="756000" y="990634"/>
                <a:ext cx="6048000" cy="0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AutoShape 11"/>
              <p:cNvSpPr/>
              <p:nvPr/>
            </p:nvSpPr>
            <p:spPr>
              <a:xfrm>
                <a:off x="756000" y="2486059"/>
                <a:ext cx="6048000" cy="0"/>
              </a:xfrm>
              <a:prstGeom prst="line">
                <a:avLst/>
              </a:prstGeom>
              <a:ln w="9525" cap="flat">
                <a:solidFill>
                  <a:srgbClr val="305986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TextBox 51"/>
              <p:cNvSpPr txBox="1"/>
              <p:nvPr/>
            </p:nvSpPr>
            <p:spPr>
              <a:xfrm>
                <a:off x="756000" y="577443"/>
                <a:ext cx="2313575" cy="2339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864"/>
                  </a:lnSpc>
                  <a:spcBef>
                    <a:spcPct val="0"/>
                  </a:spcBef>
                </a:pPr>
                <a:r>
                  <a:rPr lang="en-US" sz="1350" b="1" dirty="0">
                    <a:solidFill>
                      <a:srgbClr val="305986"/>
                    </a:solidFill>
                    <a:latin typeface="Cinzel" pitchFamily="2" charset="0"/>
                  </a:rPr>
                  <a:t> All about me adults</a:t>
                </a:r>
              </a:p>
            </p:txBody>
          </p:sp>
        </p:grpSp>
        <p:sp>
          <p:nvSpPr>
            <p:cNvPr id="22" name="TemplateLAB"/>
            <p:cNvSpPr/>
            <p:nvPr/>
          </p:nvSpPr>
          <p:spPr>
            <a:xfrm rot="5400000">
              <a:off x="6774326" y="9100900"/>
              <a:ext cx="779813" cy="128669"/>
            </a:xfrm>
            <a:custGeom>
              <a:avLst/>
              <a:gdLst/>
              <a:ahLst/>
              <a:cxnLst/>
              <a:rect l="l" t="t" r="r" b="b"/>
              <a:pathLst>
                <a:path w="779813" h="128669">
                  <a:moveTo>
                    <a:pt x="0" y="0"/>
                  </a:moveTo>
                  <a:lnTo>
                    <a:pt x="779814" y="0"/>
                  </a:lnTo>
                  <a:lnTo>
                    <a:pt x="779814" y="128670"/>
                  </a:lnTo>
                  <a:lnTo>
                    <a:pt x="0" y="12867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30152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</TotalTime>
  <Words>119</Words>
  <Application>Microsoft Office PowerPoint</Application>
  <PresentationFormat>Custom</PresentationFormat>
  <Paragraphs>2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Cagliostro</vt:lpstr>
      <vt:lpstr>Cinzel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 about me  - 1,2,3,4,6,7,8,9</dc:title>
  <dc:creator>Hoang Anh</dc:creator>
  <cp:lastModifiedBy>HUONG NGUYEN THU</cp:lastModifiedBy>
  <cp:revision>12</cp:revision>
  <dcterms:created xsi:type="dcterms:W3CDTF">2006-08-16T00:00:00Z</dcterms:created>
  <dcterms:modified xsi:type="dcterms:W3CDTF">2023-09-15T11:48:20Z</dcterms:modified>
  <dc:identifier>DAFuDzpaPhY</dc:identifier>
</cp:coreProperties>
</file>